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7"/>
  </p:sldMasterIdLst>
  <p:notesMasterIdLst>
    <p:notesMasterId r:id="rId9"/>
  </p:notesMasterIdLst>
  <p:sldIdLst>
    <p:sldId id="2145708551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eneral slides" id="{8A901D8A-00EB-B94D-9A80-B424B3AB5A9E}">
          <p14:sldIdLst>
            <p14:sldId id="214570855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52" userDrawn="1">
          <p15:clr>
            <a:srgbClr val="A4A3A4"/>
          </p15:clr>
        </p15:guide>
        <p15:guide id="2" pos="60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3510CB7-AA5B-FB77-8A5B-A19007170895}" name="Jennette Merwin" initials="JM" userId="S::lt633@cummins.com::55ae523a-282a-481c-8a04-7422404ccd9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nnette Munger" initials="JM" lastIdx="1" clrIdx="0">
    <p:extLst>
      <p:ext uri="{19B8F6BF-5375-455C-9EA6-DF929625EA0E}">
        <p15:presenceInfo xmlns:p15="http://schemas.microsoft.com/office/powerpoint/2012/main" userId="243cfaced99db89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78A"/>
    <a:srgbClr val="FFFFFF"/>
    <a:srgbClr val="000000"/>
    <a:srgbClr val="0085AD"/>
    <a:srgbClr val="738B1F"/>
    <a:srgbClr val="7E7E7E"/>
    <a:srgbClr val="9C1C13"/>
    <a:srgbClr val="243782"/>
    <a:srgbClr val="DB32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72381"/>
  </p:normalViewPr>
  <p:slideViewPr>
    <p:cSldViewPr snapToGrid="0">
      <p:cViewPr varScale="1">
        <p:scale>
          <a:sx n="95" d="100"/>
          <a:sy n="95" d="100"/>
        </p:scale>
        <p:origin x="115" y="72"/>
      </p:cViewPr>
      <p:guideLst>
        <p:guide orient="horz" pos="552"/>
        <p:guide pos="60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microsoft.com/office/2018/10/relationships/authors" Target="authors.xml"/><Relationship Id="rId10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8-14T18:16:39.71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2207 88 0,'-2206'-88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8-14T18:16:44.80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780 89 0,'-780'-89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14T18:17:15.305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  <inkml:brushProperty name="ignorePressure" value="1"/>
    </inkml:brush>
  </inkml:definitions>
  <inkml:trace contextRef="#ctx0" brushRef="#br0">1 90,'72'1,"304"-15,-235 5,30-4,-92 5,0 3,84 7,-40 0,-90-3,49-10,-47 6,38-1,438 5,-241 2,-234-3,45-7,30-3,395 13,-465 1,0 2,57 13,-57-9,0-1,58 1,21-10,106 4,-161 9,-48-7,1-1,21 1,431-3,-227-3,-217 4,49 8,-48-6,46 3,-13-7,-28-2,0 3,0 0,35 7,-2 1,0-3,0-3,71-5,-22 0,-96 1,0-1,27-6,25-3,-11 9,-20 1,64-10,-71 7,47-1,-51 4,0-1,42-8,-43 5,1 2,-1 1,47 2,-40 1,-15-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C694-193C-4E6C-9FE1-247F8A6747B7}" type="datetimeFigureOut">
              <a:rPr lang="en-US" smtClean="0"/>
              <a:t>8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9D6179-7C92-4F73-8BB8-12FDFF794E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8988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rtl="0" fontAlgn="base">
              <a:buFont typeface="Arial" panose="020B0604020202020204" pitchFamily="34" charset="0"/>
              <a:buNone/>
            </a:pP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9D6179-7C92-4F73-8BB8-12FDFF794E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13122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48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</p:spTree>
    <p:extLst>
      <p:ext uri="{BB962C8B-B14F-4D97-AF65-F5344CB8AC3E}">
        <p14:creationId xmlns:p14="http://schemas.microsoft.com/office/powerpoint/2010/main" val="2447463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4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F582FB3B-2F0E-0524-C968-33524F16BB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A8AD9B1-4433-DAF5-17C6-9EB223F4255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84767" y="53914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9747D6A8-0024-90F4-1F42-F4A3E89425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258107" y="53914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264E621D-CA26-BB6C-A5D6-1A083DC3704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37460" y="53914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19">
            <a:extLst>
              <a:ext uri="{FF2B5EF4-FFF2-40B4-BE49-F238E27FC236}">
                <a16:creationId xmlns:a16="http://schemas.microsoft.com/office/drawing/2014/main" id="{B0E77694-6EFB-3545-1A87-C4BF18C66B6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10800" y="53914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19">
            <a:extLst>
              <a:ext uri="{FF2B5EF4-FFF2-40B4-BE49-F238E27FC236}">
                <a16:creationId xmlns:a16="http://schemas.microsoft.com/office/drawing/2014/main" id="{517E5672-0217-CBEE-EA30-8A4B3781FA2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784767" y="200691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19">
            <a:extLst>
              <a:ext uri="{FF2B5EF4-FFF2-40B4-BE49-F238E27FC236}">
                <a16:creationId xmlns:a16="http://schemas.microsoft.com/office/drawing/2014/main" id="{57CA0B9A-115F-9884-3B7D-17C49858D1E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58107" y="200691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Picture Placeholder 19">
            <a:extLst>
              <a:ext uri="{FF2B5EF4-FFF2-40B4-BE49-F238E27FC236}">
                <a16:creationId xmlns:a16="http://schemas.microsoft.com/office/drawing/2014/main" id="{53C8C598-7912-1A8C-CCA3-5AC888F93A4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737460" y="200691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Picture Placeholder 19">
            <a:extLst>
              <a:ext uri="{FF2B5EF4-FFF2-40B4-BE49-F238E27FC236}">
                <a16:creationId xmlns:a16="http://schemas.microsoft.com/office/drawing/2014/main" id="{8E0086C7-49B6-56E5-D65B-95C403B7F4F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210800" y="200691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19">
            <a:extLst>
              <a:ext uri="{FF2B5EF4-FFF2-40B4-BE49-F238E27FC236}">
                <a16:creationId xmlns:a16="http://schemas.microsoft.com/office/drawing/2014/main" id="{CB284CC9-1EFA-C48F-4017-EBAD2C938AC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784767" y="347468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19">
            <a:extLst>
              <a:ext uri="{FF2B5EF4-FFF2-40B4-BE49-F238E27FC236}">
                <a16:creationId xmlns:a16="http://schemas.microsoft.com/office/drawing/2014/main" id="{4049CD7E-3CCF-8502-E05C-E5A12504272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258107" y="347468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19">
            <a:extLst>
              <a:ext uri="{FF2B5EF4-FFF2-40B4-BE49-F238E27FC236}">
                <a16:creationId xmlns:a16="http://schemas.microsoft.com/office/drawing/2014/main" id="{925FCB57-2F28-8695-AD4B-02E556FC7CB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37460" y="347468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19">
            <a:extLst>
              <a:ext uri="{FF2B5EF4-FFF2-40B4-BE49-F238E27FC236}">
                <a16:creationId xmlns:a16="http://schemas.microsoft.com/office/drawing/2014/main" id="{C82AF297-1E23-384C-91AD-3DF0833CF48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210800" y="347468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Picture Placeholder 19">
            <a:extLst>
              <a:ext uri="{FF2B5EF4-FFF2-40B4-BE49-F238E27FC236}">
                <a16:creationId xmlns:a16="http://schemas.microsoft.com/office/drawing/2014/main" id="{C462B471-2E0E-808F-1A57-B7950324159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784767" y="494245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Picture Placeholder 19">
            <a:extLst>
              <a:ext uri="{FF2B5EF4-FFF2-40B4-BE49-F238E27FC236}">
                <a16:creationId xmlns:a16="http://schemas.microsoft.com/office/drawing/2014/main" id="{F9FDBB5E-CD7B-C5A2-4CE4-A248522E564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258107" y="494245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Picture Placeholder 19">
            <a:extLst>
              <a:ext uri="{FF2B5EF4-FFF2-40B4-BE49-F238E27FC236}">
                <a16:creationId xmlns:a16="http://schemas.microsoft.com/office/drawing/2014/main" id="{658315E7-1B2A-8E6C-4D2B-63A6398880A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737460" y="494245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Picture Placeholder 19">
            <a:extLst>
              <a:ext uri="{FF2B5EF4-FFF2-40B4-BE49-F238E27FC236}">
                <a16:creationId xmlns:a16="http://schemas.microsoft.com/office/drawing/2014/main" id="{F892EC5F-309E-2801-FA71-EF4B276B6B2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210800" y="494245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C67089-5248-92EE-FC61-EAAD83BFE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4862286" cy="1325563"/>
          </a:xfrm>
        </p:spPr>
        <p:txBody>
          <a:bodyPr/>
          <a:lstStyle>
            <a:lvl1pPr>
              <a:lnSpc>
                <a:spcPts val="48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19712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5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F582FB3B-2F0E-0524-C968-33524F16BB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A8AD9B1-4433-DAF5-17C6-9EB223F4255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75749" y="1782801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9747D6A8-0024-90F4-1F42-F4A3E89425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475749" y="372839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19">
            <a:extLst>
              <a:ext uri="{FF2B5EF4-FFF2-40B4-BE49-F238E27FC236}">
                <a16:creationId xmlns:a16="http://schemas.microsoft.com/office/drawing/2014/main" id="{517E5672-0217-CBEE-EA30-8A4B3781FA2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955102" y="1782801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19">
            <a:extLst>
              <a:ext uri="{FF2B5EF4-FFF2-40B4-BE49-F238E27FC236}">
                <a16:creationId xmlns:a16="http://schemas.microsoft.com/office/drawing/2014/main" id="{57CA0B9A-115F-9884-3B7D-17C49858D1E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428442" y="1782801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Picture Placeholder 19">
            <a:extLst>
              <a:ext uri="{FF2B5EF4-FFF2-40B4-BE49-F238E27FC236}">
                <a16:creationId xmlns:a16="http://schemas.microsoft.com/office/drawing/2014/main" id="{53C8C598-7912-1A8C-CCA3-5AC888F93A4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07795" y="1782801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Picture Placeholder 19">
            <a:extLst>
              <a:ext uri="{FF2B5EF4-FFF2-40B4-BE49-F238E27FC236}">
                <a16:creationId xmlns:a16="http://schemas.microsoft.com/office/drawing/2014/main" id="{8E0086C7-49B6-56E5-D65B-95C403B7F4F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381135" y="1782801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19">
            <a:extLst>
              <a:ext uri="{FF2B5EF4-FFF2-40B4-BE49-F238E27FC236}">
                <a16:creationId xmlns:a16="http://schemas.microsoft.com/office/drawing/2014/main" id="{CB284CC9-1EFA-C48F-4017-EBAD2C938AC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955102" y="372839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19">
            <a:extLst>
              <a:ext uri="{FF2B5EF4-FFF2-40B4-BE49-F238E27FC236}">
                <a16:creationId xmlns:a16="http://schemas.microsoft.com/office/drawing/2014/main" id="{4049CD7E-3CCF-8502-E05C-E5A12504272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428442" y="372839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19">
            <a:extLst>
              <a:ext uri="{FF2B5EF4-FFF2-40B4-BE49-F238E27FC236}">
                <a16:creationId xmlns:a16="http://schemas.microsoft.com/office/drawing/2014/main" id="{925FCB57-2F28-8695-AD4B-02E556FC7CB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907795" y="372839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19">
            <a:extLst>
              <a:ext uri="{FF2B5EF4-FFF2-40B4-BE49-F238E27FC236}">
                <a16:creationId xmlns:a16="http://schemas.microsoft.com/office/drawing/2014/main" id="{C82AF297-1E23-384C-91AD-3DF0833CF48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381135" y="3728398"/>
            <a:ext cx="1371600" cy="13468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1B6F0D-A38A-C24C-8B57-C1EEFE90FF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744200" cy="1325563"/>
          </a:xfrm>
        </p:spPr>
        <p:txBody>
          <a:bodyPr/>
          <a:lstStyle>
            <a:lvl1pPr>
              <a:lnSpc>
                <a:spcPts val="48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24323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images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063127" y="1709531"/>
            <a:ext cx="4127948" cy="45097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469035" y="1709531"/>
            <a:ext cx="3311096" cy="21766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469035" y="4180824"/>
            <a:ext cx="3311096" cy="26771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387C92D-1AA4-1948-834A-3A10A5FE2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888134" cy="1325563"/>
          </a:xfrm>
        </p:spPr>
        <p:txBody>
          <a:bodyPr/>
          <a:lstStyle>
            <a:lvl1pPr>
              <a:lnSpc>
                <a:spcPts val="48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8151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hotos with 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31DF3E55-FC45-973B-7455-90998D1D8DC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32527" y="-7169"/>
            <a:ext cx="2642548" cy="686516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37C2C19-59DE-1836-E3A0-D200F8D655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50794" y="-7169"/>
            <a:ext cx="2642548" cy="686325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51921469-AEF1-6449-C1E5-D60C61F1061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37697" y="-5257"/>
            <a:ext cx="2642548" cy="686325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A17B0AA5-EC47-3F38-018C-FA0E5E5BA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023730"/>
            <a:ext cx="3188912" cy="240527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668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gled image,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5635724" y="0"/>
            <a:ext cx="4732259" cy="6858000"/>
          </a:xfrm>
          <a:prstGeom prst="parallelogram">
            <a:avLst>
              <a:gd name="adj" fmla="val 54870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9829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ptop mockup,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3713561" y="2809409"/>
            <a:ext cx="4702295" cy="29267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2EF549A-A42B-2846-B1BB-A3A8AADEC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888134" cy="1325563"/>
          </a:xfrm>
        </p:spPr>
        <p:txBody>
          <a:bodyPr/>
          <a:lstStyle>
            <a:lvl1pPr>
              <a:lnSpc>
                <a:spcPts val="48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60028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ub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5B10B1-9D04-E2F7-DB73-DD3E6BD2A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51046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deshow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1828800"/>
            <a:ext cx="3611563" cy="2867025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8E213C-C9C5-8B1B-1C2D-9E3E826DD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744200" cy="11319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8489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ics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CC086-06E5-D1C0-BEDB-693D33DF59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744200" cy="11319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E2EAE01-ECFA-D12A-C612-4C5EAC57588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91063" y="1752600"/>
            <a:ext cx="6361250" cy="44989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hoto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DAACCF80-6FD7-1108-E0F1-16A15CAB01F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</p:spTree>
    <p:extLst>
      <p:ext uri="{BB962C8B-B14F-4D97-AF65-F5344CB8AC3E}">
        <p14:creationId xmlns:p14="http://schemas.microsoft.com/office/powerpoint/2010/main" val="3427363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4D498B6C-2CA0-0748-95AA-FE48D85B9B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09360" y="6117735"/>
            <a:ext cx="5210175" cy="32702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8758754B-08E0-FC4E-8687-AB82518896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09360" y="6516687"/>
            <a:ext cx="5210175" cy="2524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1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ata Classification</a:t>
            </a:r>
          </a:p>
        </p:txBody>
      </p:sp>
      <p:sp>
        <p:nvSpPr>
          <p:cNvPr id="14" name="Title 32">
            <a:extLst>
              <a:ext uri="{FF2B5EF4-FFF2-40B4-BE49-F238E27FC236}">
                <a16:creationId xmlns:a16="http://schemas.microsoft.com/office/drawing/2014/main" id="{399013B4-CB39-7249-B5BF-7ABD684C20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09360" y="1346570"/>
            <a:ext cx="5210223" cy="3496507"/>
          </a:xfrm>
        </p:spPr>
        <p:txBody>
          <a:bodyPr anchor="b">
            <a:normAutofit/>
          </a:bodyPr>
          <a:lstStyle>
            <a:lvl1pPr fontAlgn="b">
              <a:lnSpc>
                <a:spcPts val="4800"/>
              </a:lnSpc>
              <a:defRPr sz="48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2045CAA0-F484-9C4A-83DD-AC574DD689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09360" y="4869059"/>
            <a:ext cx="5210175" cy="99430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2400"/>
              </a:lnSpc>
              <a:buNone/>
              <a:defRPr sz="2400"/>
            </a:lvl1pPr>
          </a:lstStyle>
          <a:p>
            <a:pPr lvl="0"/>
            <a:r>
              <a:rPr lang="en-US"/>
              <a:t>Presenter Nam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B454A8-248D-0947-9C79-0456FFBAC7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09360" y="457200"/>
            <a:ext cx="723900" cy="635000"/>
          </a:xfrm>
          <a:prstGeom prst="rect">
            <a:avLst/>
          </a:prstGeom>
        </p:spPr>
      </p:pic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7A8277CB-7D43-26B2-B7DB-5FBA79F4852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6081485" cy="68617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r>
              <a:rPr lang="en-US"/>
              <a:t>Drag picture to placeholder or click icon to add. </a:t>
            </a:r>
          </a:p>
        </p:txBody>
      </p:sp>
    </p:spTree>
    <p:extLst>
      <p:ext uri="{BB962C8B-B14F-4D97-AF65-F5344CB8AC3E}">
        <p14:creationId xmlns:p14="http://schemas.microsoft.com/office/powerpoint/2010/main" val="4096976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</p:spTree>
    <p:extLst>
      <p:ext uri="{BB962C8B-B14F-4D97-AF65-F5344CB8AC3E}">
        <p14:creationId xmlns:p14="http://schemas.microsoft.com/office/powerpoint/2010/main" val="5436575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37"/>
          <p:cNvSpPr>
            <a:spLocks noGrp="1"/>
          </p:cNvSpPr>
          <p:nvPr>
            <p:ph type="pic" sz="quarter" idx="30"/>
          </p:nvPr>
        </p:nvSpPr>
        <p:spPr>
          <a:xfrm>
            <a:off x="5523222" y="2104693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Picture Placeholder 37"/>
          <p:cNvSpPr>
            <a:spLocks noGrp="1"/>
          </p:cNvSpPr>
          <p:nvPr>
            <p:ph type="pic" sz="quarter" idx="31"/>
          </p:nvPr>
        </p:nvSpPr>
        <p:spPr>
          <a:xfrm>
            <a:off x="7447215" y="2104693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3" name="Picture Placeholder 37"/>
          <p:cNvSpPr>
            <a:spLocks noGrp="1"/>
          </p:cNvSpPr>
          <p:nvPr>
            <p:ph type="pic" sz="quarter" idx="32"/>
          </p:nvPr>
        </p:nvSpPr>
        <p:spPr>
          <a:xfrm>
            <a:off x="9418174" y="2104693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9285412" y="3143908"/>
            <a:ext cx="1179925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900" b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9285412" y="3328554"/>
            <a:ext cx="1179925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800" b="0" i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F1CCFA-51B7-D667-5AD4-C0F614619CBE}"/>
              </a:ext>
            </a:extLst>
          </p:cNvPr>
          <p:cNvSpPr/>
          <p:nvPr userDrawn="1"/>
        </p:nvSpPr>
        <p:spPr>
          <a:xfrm>
            <a:off x="0" y="1253066"/>
            <a:ext cx="195451" cy="5303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7010A8F-7A80-FCCC-CF6C-1AA179BCAE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926" y="419978"/>
            <a:ext cx="490549" cy="438912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04D812C-BD79-A23C-64C0-3E99E4ACD82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1345" y="1213117"/>
            <a:ext cx="3906838" cy="667437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lnSpc>
                <a:spcPct val="80000"/>
              </a:lnSpc>
              <a:buNone/>
              <a:defRPr sz="24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Org chart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2024F27-B01F-DEB4-FC44-F947335D1B5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314453" y="3143908"/>
            <a:ext cx="1179925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900" b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4BE195B-D1AD-9B5C-992E-E5A3B36195E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7314453" y="3328554"/>
            <a:ext cx="1179925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800" b="0" i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12886F4-8070-C3C5-C58A-EA3D3405C21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390460" y="3143908"/>
            <a:ext cx="1179925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900" b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8A40408-06EE-9C0D-A5E7-23B79FAE9D4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390460" y="3328554"/>
            <a:ext cx="1179925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800" b="0" i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Picture Placeholder 37">
            <a:extLst>
              <a:ext uri="{FF2B5EF4-FFF2-40B4-BE49-F238E27FC236}">
                <a16:creationId xmlns:a16="http://schemas.microsoft.com/office/drawing/2014/main" id="{9AC2581B-43FC-C3D6-85EB-90C68FCE50F7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5523222" y="3709505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37">
            <a:extLst>
              <a:ext uri="{FF2B5EF4-FFF2-40B4-BE49-F238E27FC236}">
                <a16:creationId xmlns:a16="http://schemas.microsoft.com/office/drawing/2014/main" id="{E0CCF41D-CC54-D5A1-879E-7E6FF5695E0F}"/>
              </a:ext>
            </a:extLst>
          </p:cNvPr>
          <p:cNvSpPr>
            <a:spLocks noGrp="1"/>
          </p:cNvSpPr>
          <p:nvPr>
            <p:ph type="pic" sz="quarter" idx="69"/>
          </p:nvPr>
        </p:nvSpPr>
        <p:spPr>
          <a:xfrm>
            <a:off x="7447215" y="3709505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0" name="Picture Placeholder 37">
            <a:extLst>
              <a:ext uri="{FF2B5EF4-FFF2-40B4-BE49-F238E27FC236}">
                <a16:creationId xmlns:a16="http://schemas.microsoft.com/office/drawing/2014/main" id="{0DC88914-5A4B-6B2E-5752-BD008A4D1812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9418174" y="3709505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0E62500F-3C93-00CE-01EE-04932AC7921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9285412" y="4748720"/>
            <a:ext cx="1179925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900" b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3BFC658A-09FA-94DF-C900-834ECDDB138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9285412" y="4933366"/>
            <a:ext cx="1179925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800" b="0" i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EB607FC9-161D-F952-6448-9C7B1E794593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7314453" y="4748720"/>
            <a:ext cx="1179925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900" b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4E929D35-1F70-14F7-2799-6D3288AC5FD4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7314453" y="4933366"/>
            <a:ext cx="1179925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800" b="0" i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FE706F17-22DD-F65B-2B67-69E134D743F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5390460" y="4748720"/>
            <a:ext cx="1179925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900" b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56B16C58-DCF6-D7E5-01E7-723A157ADFF3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390460" y="4933366"/>
            <a:ext cx="1179925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800" b="0" i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2" name="Picture Placeholder 37">
            <a:extLst>
              <a:ext uri="{FF2B5EF4-FFF2-40B4-BE49-F238E27FC236}">
                <a16:creationId xmlns:a16="http://schemas.microsoft.com/office/drawing/2014/main" id="{E761584E-F034-FF2F-47C5-D68C29D10BEE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>
            <a:off x="1650041" y="2104693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3" name="Picture Placeholder 37">
            <a:extLst>
              <a:ext uri="{FF2B5EF4-FFF2-40B4-BE49-F238E27FC236}">
                <a16:creationId xmlns:a16="http://schemas.microsoft.com/office/drawing/2014/main" id="{8F8DF60D-B37A-45A0-98E5-FB19836CAA24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>
            <a:off x="3574034" y="2104693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755FC9DA-D986-A865-B423-CFB578D5433C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3441272" y="3143908"/>
            <a:ext cx="1179925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900" b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65" name="Text Placeholder 3">
            <a:extLst>
              <a:ext uri="{FF2B5EF4-FFF2-40B4-BE49-F238E27FC236}">
                <a16:creationId xmlns:a16="http://schemas.microsoft.com/office/drawing/2014/main" id="{205B0A66-3484-5236-4108-0E4FC84DB04F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441272" y="3328554"/>
            <a:ext cx="1179925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800" b="0" i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6" name="Text Placeholder 3">
            <a:extLst>
              <a:ext uri="{FF2B5EF4-FFF2-40B4-BE49-F238E27FC236}">
                <a16:creationId xmlns:a16="http://schemas.microsoft.com/office/drawing/2014/main" id="{A00F35F9-52A0-70F9-D571-256BA020CCA9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1517279" y="3143908"/>
            <a:ext cx="1179925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900" b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A3C36D21-9C63-EE18-73DC-4883596E876F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1517279" y="3328554"/>
            <a:ext cx="1179925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800" b="0" i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8" name="Picture Placeholder 37">
            <a:extLst>
              <a:ext uri="{FF2B5EF4-FFF2-40B4-BE49-F238E27FC236}">
                <a16:creationId xmlns:a16="http://schemas.microsoft.com/office/drawing/2014/main" id="{368CA624-5D3A-8A9B-E0A9-D823C1014D3C}"/>
              </a:ext>
            </a:extLst>
          </p:cNvPr>
          <p:cNvSpPr>
            <a:spLocks noGrp="1"/>
          </p:cNvSpPr>
          <p:nvPr>
            <p:ph type="pic" sz="quarter" idx="83"/>
          </p:nvPr>
        </p:nvSpPr>
        <p:spPr>
          <a:xfrm>
            <a:off x="1650041" y="3709505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9" name="Picture Placeholder 37">
            <a:extLst>
              <a:ext uri="{FF2B5EF4-FFF2-40B4-BE49-F238E27FC236}">
                <a16:creationId xmlns:a16="http://schemas.microsoft.com/office/drawing/2014/main" id="{0192DC39-CAE8-EC2C-0992-71329FFE899B}"/>
              </a:ext>
            </a:extLst>
          </p:cNvPr>
          <p:cNvSpPr>
            <a:spLocks noGrp="1"/>
          </p:cNvSpPr>
          <p:nvPr>
            <p:ph type="pic" sz="quarter" idx="84"/>
          </p:nvPr>
        </p:nvSpPr>
        <p:spPr>
          <a:xfrm>
            <a:off x="3574034" y="3709505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61431323-D03A-F2B1-7E80-BBFE1756E166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3441272" y="4748720"/>
            <a:ext cx="1179925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900" b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71" name="Text Placeholder 3">
            <a:extLst>
              <a:ext uri="{FF2B5EF4-FFF2-40B4-BE49-F238E27FC236}">
                <a16:creationId xmlns:a16="http://schemas.microsoft.com/office/drawing/2014/main" id="{7DC2EEAD-03B0-F109-B0EE-C3264EDEDECA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3441272" y="4933366"/>
            <a:ext cx="1179925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800" b="0" i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2" name="Text Placeholder 3">
            <a:extLst>
              <a:ext uri="{FF2B5EF4-FFF2-40B4-BE49-F238E27FC236}">
                <a16:creationId xmlns:a16="http://schemas.microsoft.com/office/drawing/2014/main" id="{5523783E-079F-D072-5504-3A335481357C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1517279" y="4748720"/>
            <a:ext cx="1179925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900" b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73" name="Text Placeholder 3">
            <a:extLst>
              <a:ext uri="{FF2B5EF4-FFF2-40B4-BE49-F238E27FC236}">
                <a16:creationId xmlns:a16="http://schemas.microsoft.com/office/drawing/2014/main" id="{100DD2B6-88EC-C197-8614-11050742054F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1517279" y="4933366"/>
            <a:ext cx="1179925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800" b="0" i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4" name="Picture Placeholder 37">
            <a:extLst>
              <a:ext uri="{FF2B5EF4-FFF2-40B4-BE49-F238E27FC236}">
                <a16:creationId xmlns:a16="http://schemas.microsoft.com/office/drawing/2014/main" id="{2E5AFB2E-04FF-E7B0-986D-85A32573E7C6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5521413" y="419978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DDDE4121-049E-D64B-09D3-E867D511B33D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388651" y="1459193"/>
            <a:ext cx="1179925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900" b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4F283B26-FBB9-B1E1-2573-CB828A9A4CE9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5388651" y="1643839"/>
            <a:ext cx="1179925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800" b="0" i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7" name="Picture Placeholder 37">
            <a:extLst>
              <a:ext uri="{FF2B5EF4-FFF2-40B4-BE49-F238E27FC236}">
                <a16:creationId xmlns:a16="http://schemas.microsoft.com/office/drawing/2014/main" id="{55AE4B37-9099-32BB-9512-69220CD47C8C}"/>
              </a:ext>
            </a:extLst>
          </p:cNvPr>
          <p:cNvSpPr>
            <a:spLocks noGrp="1"/>
          </p:cNvSpPr>
          <p:nvPr>
            <p:ph type="pic" sz="quarter" idx="92"/>
          </p:nvPr>
        </p:nvSpPr>
        <p:spPr>
          <a:xfrm>
            <a:off x="8421392" y="419978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F8F2EB86-1DE6-E887-8610-9CF92E5F78DD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8288630" y="1459193"/>
            <a:ext cx="1179925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900" b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038FA23B-3C5C-91CF-85ED-3CBAE530D786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8288630" y="1643839"/>
            <a:ext cx="1179925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800" b="0" i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Title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4901BA5B-AD3F-261C-4428-3FF671241E3F}"/>
              </a:ext>
            </a:extLst>
          </p:cNvPr>
          <p:cNvCxnSpPr>
            <a:cxnSpLocks/>
          </p:cNvCxnSpPr>
          <p:nvPr userDrawn="1"/>
        </p:nvCxnSpPr>
        <p:spPr>
          <a:xfrm>
            <a:off x="393939" y="1959265"/>
            <a:ext cx="114041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DCDAD881-E7F4-D662-E9E1-388A55CF3DA0}"/>
              </a:ext>
            </a:extLst>
          </p:cNvPr>
          <p:cNvCxnSpPr>
            <a:cxnSpLocks/>
          </p:cNvCxnSpPr>
          <p:nvPr userDrawn="1"/>
        </p:nvCxnSpPr>
        <p:spPr>
          <a:xfrm>
            <a:off x="6501114" y="852503"/>
            <a:ext cx="185281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icture Placeholder 37">
            <a:extLst>
              <a:ext uri="{FF2B5EF4-FFF2-40B4-BE49-F238E27FC236}">
                <a16:creationId xmlns:a16="http://schemas.microsoft.com/office/drawing/2014/main" id="{46A8033F-38CC-0D18-5733-377462DA8E28}"/>
              </a:ext>
            </a:extLst>
          </p:cNvPr>
          <p:cNvSpPr>
            <a:spLocks noGrp="1"/>
          </p:cNvSpPr>
          <p:nvPr>
            <p:ph type="pic" sz="quarter" idx="95"/>
          </p:nvPr>
        </p:nvSpPr>
        <p:spPr>
          <a:xfrm>
            <a:off x="5523222" y="5268336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Picture Placeholder 37">
            <a:extLst>
              <a:ext uri="{FF2B5EF4-FFF2-40B4-BE49-F238E27FC236}">
                <a16:creationId xmlns:a16="http://schemas.microsoft.com/office/drawing/2014/main" id="{D93B6E66-AB2E-CE0A-7E6D-3C2147B5C892}"/>
              </a:ext>
            </a:extLst>
          </p:cNvPr>
          <p:cNvSpPr>
            <a:spLocks noGrp="1"/>
          </p:cNvSpPr>
          <p:nvPr>
            <p:ph type="pic" sz="quarter" idx="96"/>
          </p:nvPr>
        </p:nvSpPr>
        <p:spPr>
          <a:xfrm>
            <a:off x="7447215" y="5268336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1E6BDB4-9F5E-0785-0693-C0D4911C85C2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7314453" y="6307551"/>
            <a:ext cx="1179925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900" b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B895899-EAE8-A3E1-393E-FCF7C2DC3EA9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7314453" y="6492197"/>
            <a:ext cx="1179925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800" b="0" i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4F4FE41-7B3F-7FAD-76FF-49489ECF3960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5390460" y="6307551"/>
            <a:ext cx="1179925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900" b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FD43C49-9812-24B8-4BFC-BD4E269C9709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5390460" y="6492197"/>
            <a:ext cx="1179925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800" b="0" i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Picture Placeholder 37">
            <a:extLst>
              <a:ext uri="{FF2B5EF4-FFF2-40B4-BE49-F238E27FC236}">
                <a16:creationId xmlns:a16="http://schemas.microsoft.com/office/drawing/2014/main" id="{BA48DDE1-A7D9-24C2-DABB-9D92B508DC53}"/>
              </a:ext>
            </a:extLst>
          </p:cNvPr>
          <p:cNvSpPr>
            <a:spLocks noGrp="1"/>
          </p:cNvSpPr>
          <p:nvPr>
            <p:ph type="pic" sz="quarter" idx="105"/>
          </p:nvPr>
        </p:nvSpPr>
        <p:spPr>
          <a:xfrm>
            <a:off x="3574034" y="5268336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429C8853-017A-0792-9382-2F3F7DFF5DA6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3441272" y="6307551"/>
            <a:ext cx="1179925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900" b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5C03960D-76B4-9151-A6FE-95CAB82B8450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3441272" y="6492197"/>
            <a:ext cx="1179925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90000"/>
              </a:lnSpc>
              <a:buNone/>
              <a:defRPr sz="800" b="0" i="1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Title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92CF87C-7FBC-549A-6CAA-87B741963285}"/>
              </a:ext>
            </a:extLst>
          </p:cNvPr>
          <p:cNvCxnSpPr>
            <a:cxnSpLocks/>
          </p:cNvCxnSpPr>
          <p:nvPr userDrawn="1"/>
        </p:nvCxnSpPr>
        <p:spPr>
          <a:xfrm>
            <a:off x="3035193" y="5156358"/>
            <a:ext cx="587060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87819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5160CA-2777-D33E-6420-A85AB01F5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86E976F1-231F-2BDC-EB2C-BBF949804CE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062988" y="2917371"/>
            <a:ext cx="8129012" cy="313508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Click icon to insert pictu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01B85E5-F983-1626-016C-67844F5C80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</p:spTree>
    <p:extLst>
      <p:ext uri="{BB962C8B-B14F-4D97-AF65-F5344CB8AC3E}">
        <p14:creationId xmlns:p14="http://schemas.microsoft.com/office/powerpoint/2010/main" val="1738990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verview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8C43F8C-8D29-0E97-732D-6F42CB51453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3550" y="849333"/>
            <a:ext cx="3406775" cy="242853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insert photo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79AE15E3-4439-4174-DC9C-F21D8B6A995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63549" y="3429000"/>
            <a:ext cx="3406775" cy="242853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insert photo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955DB9B-5FD4-E8AC-4CA0-378CA1C15F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</p:spTree>
    <p:extLst>
      <p:ext uri="{BB962C8B-B14F-4D97-AF65-F5344CB8AC3E}">
        <p14:creationId xmlns:p14="http://schemas.microsoft.com/office/powerpoint/2010/main" val="41091591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bsit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38D120-4477-22DF-AF34-B97204A904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6F62B29-3AC5-CFE3-77EF-09B2533248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0656" y="3208348"/>
            <a:ext cx="3807397" cy="205951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5ECEE84-D6DA-2316-FCC6-5AC1A7C6F2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026" y="3208347"/>
            <a:ext cx="3807397" cy="2059513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7FB746C-563D-631C-2EFD-AF2E598CC1A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019472" y="3375497"/>
            <a:ext cx="2908571" cy="167640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hoto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215EDDAB-1947-76C6-D4D5-A184AC0F512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15563" y="3375497"/>
            <a:ext cx="2908571" cy="167640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insert photo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64C382BE-3CEB-0C1A-4836-3309E0FA3E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</p:spTree>
    <p:extLst>
      <p:ext uri="{BB962C8B-B14F-4D97-AF65-F5344CB8AC3E}">
        <p14:creationId xmlns:p14="http://schemas.microsoft.com/office/powerpoint/2010/main" val="1287922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464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6872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48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09600" y="1901825"/>
            <a:ext cx="10972801" cy="44259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/>
            </a:lvl1pPr>
            <a:lvl2pPr marL="457200" indent="0">
              <a:lnSpc>
                <a:spcPct val="100000"/>
              </a:lnSpc>
              <a:buNone/>
              <a:defRPr sz="1800"/>
            </a:lvl2pPr>
            <a:lvl3pPr marL="914400" indent="0">
              <a:lnSpc>
                <a:spcPct val="100000"/>
              </a:lnSpc>
              <a:buNone/>
              <a:defRPr sz="1600"/>
            </a:lvl3pPr>
            <a:lvl4pPr marL="1371600" indent="0">
              <a:lnSpc>
                <a:spcPct val="100000"/>
              </a:lnSpc>
              <a:buNone/>
              <a:defRPr sz="1600"/>
            </a:lvl4pPr>
            <a:lvl5pPr marL="1828800" indent="0">
              <a:lnSpc>
                <a:spcPct val="100000"/>
              </a:lnSpc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</p:spTree>
    <p:extLst>
      <p:ext uri="{BB962C8B-B14F-4D97-AF65-F5344CB8AC3E}">
        <p14:creationId xmlns:p14="http://schemas.microsoft.com/office/powerpoint/2010/main" val="30988773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65125"/>
            <a:ext cx="10888134" cy="1325563"/>
          </a:xfrm>
        </p:spPr>
        <p:txBody>
          <a:bodyPr/>
          <a:lstStyle>
            <a:lvl1pPr>
              <a:lnSpc>
                <a:spcPts val="48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6215063" y="1901825"/>
            <a:ext cx="5282670" cy="44259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2"/>
          </p:nvPr>
        </p:nvSpPr>
        <p:spPr>
          <a:xfrm>
            <a:off x="609600" y="1901825"/>
            <a:ext cx="5282670" cy="44259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</p:spTree>
    <p:extLst>
      <p:ext uri="{BB962C8B-B14F-4D97-AF65-F5344CB8AC3E}">
        <p14:creationId xmlns:p14="http://schemas.microsoft.com/office/powerpoint/2010/main" val="165772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22500" y="1691218"/>
            <a:ext cx="2639113" cy="209338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604586" y="1691218"/>
            <a:ext cx="2639113" cy="209338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22500" y="4026379"/>
            <a:ext cx="2639113" cy="209338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604586" y="4026378"/>
            <a:ext cx="2639113" cy="209338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B1E95BC-91D7-0844-AE87-B3E0108305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96D9C8-6C5F-1289-714C-718E79B908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888134" cy="1325563"/>
          </a:xfrm>
        </p:spPr>
        <p:txBody>
          <a:bodyPr/>
          <a:lstStyle>
            <a:lvl1pPr>
              <a:lnSpc>
                <a:spcPts val="48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621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, off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8BC2E59-A2F8-E974-2C81-1772B9A38D0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4713" y="1796976"/>
            <a:ext cx="2398712" cy="190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31BD5C8D-4048-B90C-7592-BAA46BA99BB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88" y="1796976"/>
            <a:ext cx="2398712" cy="190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6F20168C-670D-364E-52F4-B30E3B55515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78071" y="4269064"/>
            <a:ext cx="2398712" cy="190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AEE964E-AF1A-4C98-5438-5F23E07B2D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697146" y="4269064"/>
            <a:ext cx="2398712" cy="190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14124A-DDB0-C779-673E-EEDD9DF19C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04BA96A-0883-C31B-746C-10900A732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888134" cy="1325563"/>
          </a:xfrm>
        </p:spPr>
        <p:txBody>
          <a:bodyPr/>
          <a:lstStyle>
            <a:lvl1pPr>
              <a:lnSpc>
                <a:spcPts val="48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24054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C8E5F4B-9915-76B6-662C-501AE1E1B096}"/>
              </a:ext>
            </a:extLst>
          </p:cNvPr>
          <p:cNvCxnSpPr>
            <a:cxnSpLocks/>
          </p:cNvCxnSpPr>
          <p:nvPr userDrawn="1"/>
        </p:nvCxnSpPr>
        <p:spPr>
          <a:xfrm>
            <a:off x="0" y="1695236"/>
            <a:ext cx="820905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1695235"/>
            <a:ext cx="3787738" cy="31575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5"/>
          <p:cNvSpPr/>
          <p:nvPr userDrawn="1"/>
        </p:nvSpPr>
        <p:spPr>
          <a:xfrm rot="10800000">
            <a:off x="10150548" y="6472863"/>
            <a:ext cx="2047392" cy="398263"/>
          </a:xfrm>
          <a:custGeom>
            <a:avLst/>
            <a:gdLst>
              <a:gd name="connsiteX0" fmla="*/ 0 w 1803485"/>
              <a:gd name="connsiteY0" fmla="*/ 0 h 354932"/>
              <a:gd name="connsiteX1" fmla="*/ 1803485 w 1803485"/>
              <a:gd name="connsiteY1" fmla="*/ 0 h 354932"/>
              <a:gd name="connsiteX2" fmla="*/ 1803485 w 1803485"/>
              <a:gd name="connsiteY2" fmla="*/ 354932 h 354932"/>
              <a:gd name="connsiteX3" fmla="*/ 0 w 1803485"/>
              <a:gd name="connsiteY3" fmla="*/ 354932 h 354932"/>
              <a:gd name="connsiteX4" fmla="*/ 0 w 1803485"/>
              <a:gd name="connsiteY4" fmla="*/ 0 h 354932"/>
              <a:gd name="connsiteX0" fmla="*/ 0 w 2008025"/>
              <a:gd name="connsiteY0" fmla="*/ 1 h 354933"/>
              <a:gd name="connsiteX1" fmla="*/ 2008025 w 2008025"/>
              <a:gd name="connsiteY1" fmla="*/ 0 h 354933"/>
              <a:gd name="connsiteX2" fmla="*/ 1803485 w 2008025"/>
              <a:gd name="connsiteY2" fmla="*/ 354933 h 354933"/>
              <a:gd name="connsiteX3" fmla="*/ 0 w 2008025"/>
              <a:gd name="connsiteY3" fmla="*/ 354933 h 354933"/>
              <a:gd name="connsiteX4" fmla="*/ 0 w 2008025"/>
              <a:gd name="connsiteY4" fmla="*/ 1 h 354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8025" h="354933">
                <a:moveTo>
                  <a:pt x="0" y="1"/>
                </a:moveTo>
                <a:lnTo>
                  <a:pt x="2008025" y="0"/>
                </a:lnTo>
                <a:lnTo>
                  <a:pt x="1803485" y="354933"/>
                </a:lnTo>
                <a:lnTo>
                  <a:pt x="0" y="354933"/>
                </a:lnTo>
                <a:lnTo>
                  <a:pt x="0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2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11574065" y="6496013"/>
            <a:ext cx="617011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85663" rtl="0" eaLnBrk="1" latinLnBrk="0" hangingPunct="1">
              <a:defRPr sz="900" b="0" i="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342831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63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94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326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157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989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820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651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219BBCF-6562-0F4B-B1E4-C6BFB9DF245D}" type="slidenum">
              <a:rPr lang="en-US" sz="1333" smtClean="0">
                <a:solidFill>
                  <a:srgbClr val="FFFFFF"/>
                </a:solidFill>
              </a:rPr>
              <a:pPr/>
              <a:t>‹#›</a:t>
            </a:fld>
            <a:endParaRPr lang="en-US" sz="1333">
              <a:solidFill>
                <a:srgbClr val="FFFFFF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000"/>
          <a:stretch/>
        </p:blipFill>
        <p:spPr>
          <a:xfrm>
            <a:off x="10565109" y="6622966"/>
            <a:ext cx="765552" cy="206703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11518607" y="6575350"/>
            <a:ext cx="0" cy="209685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  <p:sp>
        <p:nvSpPr>
          <p:cNvPr id="3" name="Title Placeholder 13">
            <a:extLst>
              <a:ext uri="{FF2B5EF4-FFF2-40B4-BE49-F238E27FC236}">
                <a16:creationId xmlns:a16="http://schemas.microsoft.com/office/drawing/2014/main" id="{3ABC48DB-24D7-3779-964C-23E2C8FFC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7442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67282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37886" y="166914"/>
            <a:ext cx="5500914" cy="65604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Rectangle 5"/>
          <p:cNvSpPr/>
          <p:nvPr userDrawn="1"/>
        </p:nvSpPr>
        <p:spPr>
          <a:xfrm rot="10800000">
            <a:off x="10150548" y="6472863"/>
            <a:ext cx="2047392" cy="398263"/>
          </a:xfrm>
          <a:custGeom>
            <a:avLst/>
            <a:gdLst>
              <a:gd name="connsiteX0" fmla="*/ 0 w 1803485"/>
              <a:gd name="connsiteY0" fmla="*/ 0 h 354932"/>
              <a:gd name="connsiteX1" fmla="*/ 1803485 w 1803485"/>
              <a:gd name="connsiteY1" fmla="*/ 0 h 354932"/>
              <a:gd name="connsiteX2" fmla="*/ 1803485 w 1803485"/>
              <a:gd name="connsiteY2" fmla="*/ 354932 h 354932"/>
              <a:gd name="connsiteX3" fmla="*/ 0 w 1803485"/>
              <a:gd name="connsiteY3" fmla="*/ 354932 h 354932"/>
              <a:gd name="connsiteX4" fmla="*/ 0 w 1803485"/>
              <a:gd name="connsiteY4" fmla="*/ 0 h 354932"/>
              <a:gd name="connsiteX0" fmla="*/ 0 w 2008025"/>
              <a:gd name="connsiteY0" fmla="*/ 1 h 354933"/>
              <a:gd name="connsiteX1" fmla="*/ 2008025 w 2008025"/>
              <a:gd name="connsiteY1" fmla="*/ 0 h 354933"/>
              <a:gd name="connsiteX2" fmla="*/ 1803485 w 2008025"/>
              <a:gd name="connsiteY2" fmla="*/ 354933 h 354933"/>
              <a:gd name="connsiteX3" fmla="*/ 0 w 2008025"/>
              <a:gd name="connsiteY3" fmla="*/ 354933 h 354933"/>
              <a:gd name="connsiteX4" fmla="*/ 0 w 2008025"/>
              <a:gd name="connsiteY4" fmla="*/ 1 h 354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8025" h="354933">
                <a:moveTo>
                  <a:pt x="0" y="1"/>
                </a:moveTo>
                <a:lnTo>
                  <a:pt x="2008025" y="0"/>
                </a:lnTo>
                <a:lnTo>
                  <a:pt x="1803485" y="354933"/>
                </a:lnTo>
                <a:lnTo>
                  <a:pt x="0" y="354933"/>
                </a:lnTo>
                <a:lnTo>
                  <a:pt x="0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2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11574065" y="6496013"/>
            <a:ext cx="617011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85663" rtl="0" eaLnBrk="1" latinLnBrk="0" hangingPunct="1">
              <a:defRPr sz="900" b="0" i="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342831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63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94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326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157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989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820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651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219BBCF-6562-0F4B-B1E4-C6BFB9DF245D}" type="slidenum">
              <a:rPr lang="en-US" sz="1333" smtClean="0">
                <a:solidFill>
                  <a:srgbClr val="FFFFFF"/>
                </a:solidFill>
              </a:rPr>
              <a:pPr/>
              <a:t>‹#›</a:t>
            </a:fld>
            <a:endParaRPr lang="en-US" sz="1333">
              <a:solidFill>
                <a:srgbClr val="FFFFFF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000"/>
          <a:stretch/>
        </p:blipFill>
        <p:spPr>
          <a:xfrm>
            <a:off x="10565109" y="6622966"/>
            <a:ext cx="765552" cy="206703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11518607" y="6575350"/>
            <a:ext cx="0" cy="209685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</p:spTree>
    <p:extLst>
      <p:ext uri="{BB962C8B-B14F-4D97-AF65-F5344CB8AC3E}">
        <p14:creationId xmlns:p14="http://schemas.microsoft.com/office/powerpoint/2010/main" val="414351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F582FB3B-2F0E-0524-C968-33524F16BB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03225" y="6583362"/>
            <a:ext cx="1354858" cy="244682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 algn="r">
              <a:buNone/>
              <a:defRPr sz="11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Data Classifica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82798ED-0018-CCB3-14F0-1A3A1B61A9C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69863" y="153566"/>
            <a:ext cx="3514725" cy="26828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5AB0538C-0EDE-7C86-8E5C-27D41540995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10069" y="153566"/>
            <a:ext cx="3383280" cy="23993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41948DB1-7FD1-0A5B-9ED6-9A0A3071ADE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10069" y="2690910"/>
            <a:ext cx="3383280" cy="226947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4CA38DDE-B638-5881-78C6-D77960AA5D9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69391" y="2957628"/>
            <a:ext cx="3514724" cy="160711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E4E173E9-0639-B8EB-7041-2AF828DBB6D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69391" y="4683499"/>
            <a:ext cx="3514724" cy="20209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DA703FCB-EF6B-C7C5-817D-4EC0F67BE74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810069" y="5098343"/>
            <a:ext cx="3383280" cy="160609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08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/>
          <p:nvPr userDrawn="1"/>
        </p:nvSpPr>
        <p:spPr>
          <a:xfrm rot="10800000">
            <a:off x="10150548" y="6472863"/>
            <a:ext cx="2047392" cy="398263"/>
          </a:xfrm>
          <a:custGeom>
            <a:avLst/>
            <a:gdLst>
              <a:gd name="connsiteX0" fmla="*/ 0 w 1803485"/>
              <a:gd name="connsiteY0" fmla="*/ 0 h 354932"/>
              <a:gd name="connsiteX1" fmla="*/ 1803485 w 1803485"/>
              <a:gd name="connsiteY1" fmla="*/ 0 h 354932"/>
              <a:gd name="connsiteX2" fmla="*/ 1803485 w 1803485"/>
              <a:gd name="connsiteY2" fmla="*/ 354932 h 354932"/>
              <a:gd name="connsiteX3" fmla="*/ 0 w 1803485"/>
              <a:gd name="connsiteY3" fmla="*/ 354932 h 354932"/>
              <a:gd name="connsiteX4" fmla="*/ 0 w 1803485"/>
              <a:gd name="connsiteY4" fmla="*/ 0 h 354932"/>
              <a:gd name="connsiteX0" fmla="*/ 0 w 2008025"/>
              <a:gd name="connsiteY0" fmla="*/ 1 h 354933"/>
              <a:gd name="connsiteX1" fmla="*/ 2008025 w 2008025"/>
              <a:gd name="connsiteY1" fmla="*/ 0 h 354933"/>
              <a:gd name="connsiteX2" fmla="*/ 1803485 w 2008025"/>
              <a:gd name="connsiteY2" fmla="*/ 354933 h 354933"/>
              <a:gd name="connsiteX3" fmla="*/ 0 w 2008025"/>
              <a:gd name="connsiteY3" fmla="*/ 354933 h 354933"/>
              <a:gd name="connsiteX4" fmla="*/ 0 w 2008025"/>
              <a:gd name="connsiteY4" fmla="*/ 1 h 354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8025" h="354933">
                <a:moveTo>
                  <a:pt x="0" y="1"/>
                </a:moveTo>
                <a:lnTo>
                  <a:pt x="2008025" y="0"/>
                </a:lnTo>
                <a:lnTo>
                  <a:pt x="1803485" y="354933"/>
                </a:lnTo>
                <a:lnTo>
                  <a:pt x="0" y="354933"/>
                </a:lnTo>
                <a:lnTo>
                  <a:pt x="0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2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11574065" y="6496013"/>
            <a:ext cx="617011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85663" rtl="0" eaLnBrk="1" latinLnBrk="0" hangingPunct="1">
              <a:defRPr sz="900" b="0" i="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342831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63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94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326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157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989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820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651" algn="l" defTabSz="68566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219BBCF-6562-0F4B-B1E4-C6BFB9DF245D}" type="slidenum">
              <a:rPr lang="en-US" sz="1200" smtClean="0">
                <a:solidFill>
                  <a:srgbClr val="FFFFFF"/>
                </a:solidFill>
              </a:rPr>
              <a:pPr/>
              <a:t>‹#›</a:t>
            </a:fld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0000"/>
          <a:stretch/>
        </p:blipFill>
        <p:spPr>
          <a:xfrm>
            <a:off x="10565109" y="6622966"/>
            <a:ext cx="765552" cy="206703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1518607" y="6575350"/>
            <a:ext cx="0" cy="209685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609600" y="365125"/>
            <a:ext cx="107442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8729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95" r:id="rId2"/>
    <p:sldLayoutId id="2147483666" r:id="rId3"/>
    <p:sldLayoutId id="2147483667" r:id="rId4"/>
    <p:sldLayoutId id="2147483668" r:id="rId5"/>
    <p:sldLayoutId id="2147483696" r:id="rId6"/>
    <p:sldLayoutId id="2147483700" r:id="rId7"/>
    <p:sldLayoutId id="2147483699" r:id="rId8"/>
    <p:sldLayoutId id="2147483692" r:id="rId9"/>
    <p:sldLayoutId id="2147483693" r:id="rId10"/>
    <p:sldLayoutId id="2147483694" r:id="rId11"/>
    <p:sldLayoutId id="2147483672" r:id="rId12"/>
    <p:sldLayoutId id="2147483705" r:id="rId13"/>
    <p:sldLayoutId id="2147483673" r:id="rId14"/>
    <p:sldLayoutId id="2147483677" r:id="rId15"/>
    <p:sldLayoutId id="2147483706" r:id="rId16"/>
    <p:sldLayoutId id="2147483687" r:id="rId17"/>
    <p:sldLayoutId id="2147483703" r:id="rId18"/>
    <p:sldLayoutId id="2147483697" r:id="rId19"/>
    <p:sldLayoutId id="2147483698" r:id="rId20"/>
    <p:sldLayoutId id="2147483702" r:id="rId21"/>
    <p:sldLayoutId id="2147483704" r:id="rId22"/>
    <p:sldLayoutId id="2147483701" r:id="rId23"/>
    <p:sldLayoutId id="2147483679" r:id="rId24"/>
    <p:sldLayoutId id="2147483681" r:id="rId2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charset="2"/>
        <a:buChar char="§"/>
        <a:defRPr sz="18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LucidaGrande" charset="0"/>
        <a:buChar char="-"/>
        <a:defRPr sz="18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Courier New" charset="0"/>
        <a:buChar char="o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ustomXml" Target="../ink/ink1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12" Type="http://schemas.openxmlformats.org/officeDocument/2006/relationships/customXml" Target="../ink/ink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1.bin"/><Relationship Id="rId10" Type="http://schemas.openxmlformats.org/officeDocument/2006/relationships/customXml" Target="../ink/ink2.xml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24EC99E-D160-4BB1-BD6E-9DBA12EF74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24EC99E-D160-4BB1-BD6E-9DBA12EF74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39FB47-F4D6-4A61-AA01-26E451C2ED6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48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40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575050" y="3936646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82646CDF-378E-E540-9E9A-B98E8B37E6A6}"/>
              </a:ext>
            </a:extLst>
          </p:cNvPr>
          <p:cNvSpPr txBox="1">
            <a:spLocks/>
          </p:cNvSpPr>
          <p:nvPr/>
        </p:nvSpPr>
        <p:spPr>
          <a:xfrm>
            <a:off x="9487093" y="6583362"/>
            <a:ext cx="570990" cy="24468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Grande" charset="0"/>
              <a:buChar char="-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Courier New" charset="0"/>
              <a:buChar char="o"/>
              <a:defRPr sz="14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100">
              <a:solidFill>
                <a:schemeClr val="accent5"/>
              </a:solidFill>
            </a:endParaRP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87377E41-FBF3-547C-7326-8948097F3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03225" y="6583362"/>
            <a:ext cx="1354858" cy="244682"/>
          </a:xfrm>
        </p:spPr>
        <p:txBody>
          <a:bodyPr/>
          <a:lstStyle/>
          <a:p>
            <a:endParaRPr lang="en-US"/>
          </a:p>
        </p:txBody>
      </p:sp>
      <p:pic>
        <p:nvPicPr>
          <p:cNvPr id="11" name="Picture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1099437-ABF0-5484-A7A4-C10F455F48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522" y="407128"/>
            <a:ext cx="7346929" cy="5704908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AB8824E2-62B9-0CC4-E282-C369456E0649}"/>
                  </a:ext>
                </a:extLst>
              </p14:cNvPr>
              <p14:cNvContentPartPr/>
              <p14:nvPr/>
            </p14:nvContentPartPr>
            <p14:xfrm>
              <a:off x="2839055" y="4090863"/>
              <a:ext cx="794520" cy="32040"/>
            </p14:xfrm>
          </p:contentPart>
        </mc:Choice>
        <mc:Fallback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AB8824E2-62B9-0CC4-E282-C369456E0649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785415" y="3982863"/>
                <a:ext cx="902160" cy="247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E68368CA-A972-E8A0-64AA-13EB7F48B162}"/>
                  </a:ext>
                </a:extLst>
              </p14:cNvPr>
              <p14:cNvContentPartPr/>
              <p14:nvPr/>
            </p14:nvContentPartPr>
            <p14:xfrm>
              <a:off x="312935" y="4603863"/>
              <a:ext cx="281160" cy="32400"/>
            </p14:xfrm>
          </p:contentPart>
        </mc:Choice>
        <mc:Fallback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E68368CA-A972-E8A0-64AA-13EB7F48B162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258935" y="4495863"/>
                <a:ext cx="388800" cy="248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96D18AE3-50C5-D68F-4D8D-2415E18F29BC}"/>
                  </a:ext>
                </a:extLst>
              </p14:cNvPr>
              <p14:cNvContentPartPr/>
              <p14:nvPr/>
            </p14:nvContentPartPr>
            <p14:xfrm>
              <a:off x="352895" y="5133063"/>
              <a:ext cx="2221200" cy="4248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96D18AE3-50C5-D68F-4D8D-2415E18F29BC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299255" y="5025063"/>
                <a:ext cx="2328840" cy="258120"/>
              </a:xfrm>
              <a:prstGeom prst="rect">
                <a:avLst/>
              </a:prstGeom>
            </p:spPr>
          </p:pic>
        </mc:Fallback>
      </mc:AlternateContent>
      <p:sp>
        <p:nvSpPr>
          <p:cNvPr id="20" name="TextBox 19">
            <a:extLst>
              <a:ext uri="{FF2B5EF4-FFF2-40B4-BE49-F238E27FC236}">
                <a16:creationId xmlns:a16="http://schemas.microsoft.com/office/drawing/2014/main" id="{84DABC05-C65B-94EC-10BC-7EE7DA51F994}"/>
              </a:ext>
            </a:extLst>
          </p:cNvPr>
          <p:cNvSpPr txBox="1"/>
          <p:nvPr/>
        </p:nvSpPr>
        <p:spPr>
          <a:xfrm>
            <a:off x="7571874" y="691238"/>
            <a:ext cx="41950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Application please be sure to select “GCE/</a:t>
            </a:r>
            <a:r>
              <a:rPr lang="en-US" dirty="0" err="1"/>
              <a:t>GCEWeb</a:t>
            </a:r>
            <a:r>
              <a:rPr lang="en-US" dirty="0"/>
              <a:t>”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11914AF-9158-320B-236A-349F50EA2AEB}"/>
              </a:ext>
            </a:extLst>
          </p:cNvPr>
          <p:cNvSpPr txBox="1"/>
          <p:nvPr/>
        </p:nvSpPr>
        <p:spPr>
          <a:xfrm>
            <a:off x="7571874" y="1578992"/>
            <a:ext cx="39222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“Type of Activity” select “Add”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64705A7-C61A-135A-A064-1D7BCFB1FA2D}"/>
              </a:ext>
            </a:extLst>
          </p:cNvPr>
          <p:cNvSpPr txBox="1"/>
          <p:nvPr/>
        </p:nvSpPr>
        <p:spPr>
          <a:xfrm>
            <a:off x="7571874" y="2189747"/>
            <a:ext cx="431532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ummins employees receive a general access. If you only require general employee access just complete the description box as shown. No other information is needed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0F2DD3B-5062-0FB7-A749-983F50386F2D}"/>
              </a:ext>
            </a:extLst>
          </p:cNvPr>
          <p:cNvSpPr txBox="1"/>
          <p:nvPr/>
        </p:nvSpPr>
        <p:spPr>
          <a:xfrm>
            <a:off x="7534890" y="3976858"/>
            <a:ext cx="423199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access to a secured, G-Drive, or OEM page is needed please provide that URL where the blue highlight i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you want to be an OEM Sponsor please specify that Sponsor access is needed.</a:t>
            </a:r>
          </a:p>
        </p:txBody>
      </p:sp>
    </p:spTree>
    <p:extLst>
      <p:ext uri="{BB962C8B-B14F-4D97-AF65-F5344CB8AC3E}">
        <p14:creationId xmlns:p14="http://schemas.microsoft.com/office/powerpoint/2010/main" val="33904602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rdIP1kRCqrAvK6A6DivA"/>
</p:tagLst>
</file>

<file path=ppt/theme/theme1.xml><?xml version="1.0" encoding="utf-8"?>
<a:theme xmlns:a="http://schemas.openxmlformats.org/drawingml/2006/main" name="Cummins 2018">
  <a:themeElements>
    <a:clrScheme name="Launch">
      <a:dk1>
        <a:srgbClr val="000000"/>
      </a:dk1>
      <a:lt1>
        <a:srgbClr val="FFFFFF"/>
      </a:lt1>
      <a:dk2>
        <a:srgbClr val="414141"/>
      </a:dk2>
      <a:lt2>
        <a:srgbClr val="E7E6E6"/>
      </a:lt2>
      <a:accent1>
        <a:srgbClr val="424242"/>
      </a:accent1>
      <a:accent2>
        <a:srgbClr val="DA281C"/>
      </a:accent2>
      <a:accent3>
        <a:srgbClr val="00578A"/>
      </a:accent3>
      <a:accent4>
        <a:srgbClr val="738B1F"/>
      </a:accent4>
      <a:accent5>
        <a:srgbClr val="B4B4B3"/>
      </a:accent5>
      <a:accent6>
        <a:srgbClr val="0000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lide library_2023" id="{B6A1C1B3-DADB-1F46-A635-82E158F2197D}" vid="{D587105E-71D3-F244-821B-14FD8C671E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4d88e6c4-fcff-4e56-b8a1-dbf7c2669ce3">
      <Terms xmlns="http://schemas.microsoft.com/office/infopath/2007/PartnerControls"/>
    </TaxKeywordTaxHTField>
    <CUContentCategories_Note xmlns="4d88e6c4-fcff-4e56-b8a1-dbf7c2669ce3">
      <Terms xmlns="http://schemas.microsoft.com/office/infopath/2007/PartnerControls"/>
    </CUContentCategories_Note>
    <CULocation_Note xmlns="4d88e6c4-fcff-4e56-b8a1-dbf7c2669ce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d2b5d116-a9da-4dd0-afe0-12dc4c968e18</TermId>
        </TermInfo>
      </Terms>
    </CULocation_Note>
    <COMM_ProjectName xmlns="4d88e6c4-fcff-4e56-b8a1-dbf7c2669ce3" xsi:nil="true"/>
    <CUOriginURL xmlns="4d88e6c4-fcff-4e56-b8a1-dbf7c2669ce3" xsi:nil="true"/>
    <TaxCatchAll xmlns="4d88e6c4-fcff-4e56-b8a1-dbf7c2669ce3">
      <Value>6</Value>
      <Value>5</Value>
      <Value>4</Value>
      <Value>3</Value>
    </TaxCatchAll>
    <COMM_KeyPeople xmlns="4d88e6c4-fcff-4e56-b8a1-dbf7c2669ce3">
      <UserInfo>
        <DisplayName/>
        <AccountId xsi:nil="true"/>
        <AccountType/>
      </UserInfo>
    </COMM_KeyPeople>
    <CUDocumentType_Note xmlns="4d88e6c4-fcff-4e56-b8a1-dbf7c2669ce3">
      <Terms xmlns="http://schemas.microsoft.com/office/infopath/2007/PartnerControls"/>
    </CUDocumentType_Note>
    <COMM_ProductionLocation xmlns="4d88e6c4-fcff-4e56-b8a1-dbf7c2669ce3" xsi:nil="true"/>
    <CUFunction_Note xmlns="4d88e6c4-fcff-4e56-b8a1-dbf7c2669ce3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772a6922-610b-4c0a-9a1a-5f195efe1b0d</TermId>
        </TermInfo>
      </Terms>
    </CUFunction_Note>
    <COMM_Date xmlns="4d88e6c4-fcff-4e56-b8a1-dbf7c2669ce3" xsi:nil="true"/>
    <COMM_JobNumber xmlns="4d88e6c4-fcff-4e56-b8a1-dbf7c2669ce3" xsi:nil="true"/>
    <CUBusinessUnit_Note xmlns="4d88e6c4-fcff-4e56-b8a1-dbf7c2669ce3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rporate</TermName>
          <TermId xmlns="http://schemas.microsoft.com/office/infopath/2007/PartnerControls">78f116de-89c6-461f-ac9e-46c1249c8e20</TermId>
        </TermInfo>
      </Terms>
    </CUBusinessUnit_Note>
    <CUClassification_Note xmlns="4d88e6c4-fcff-4e56-b8a1-dbf7c2669ce3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rnal use only</TermName>
          <TermId xmlns="http://schemas.microsoft.com/office/infopath/2007/PartnerControls">c22c3a8f-c8ce-43fa-ae03-fa8f3cf5b121</TermId>
        </TermInfo>
      </Terms>
    </CUClassification_Note>
    <_dlc_ExpireDateSaved xmlns="http://schemas.microsoft.com/sharepoint/v3" xsi:nil="true"/>
    <_dlc_ExpireDate xmlns="http://schemas.microsoft.com/sharepoint/v3">2033-10-31T15:58:48+00:00</_dlc_ExpireDat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Corporate Communications Document 10 Years" ma:contentTypeID="0x010100D6DB4AC788A74237AC66E75E8A04265F2A0073037F277E724F4FBF6073B7F8F5E20B" ma:contentTypeVersion="6" ma:contentTypeDescription="" ma:contentTypeScope="" ma:versionID="31411fdb64e6018b67a13bdb686b2ead">
  <xsd:schema xmlns:xsd="http://www.w3.org/2001/XMLSchema" xmlns:xs="http://www.w3.org/2001/XMLSchema" xmlns:p="http://schemas.microsoft.com/office/2006/metadata/properties" xmlns:ns1="http://schemas.microsoft.com/sharepoint/v3" xmlns:ns2="4d88e6c4-fcff-4e56-b8a1-dbf7c2669ce3" targetNamespace="http://schemas.microsoft.com/office/2006/metadata/properties" ma:root="true" ma:fieldsID="631bb6462f3169ae3fb74cae57900ed4" ns1:_="" ns2:_="">
    <xsd:import namespace="http://schemas.microsoft.com/sharepoint/v3"/>
    <xsd:import namespace="4d88e6c4-fcff-4e56-b8a1-dbf7c2669ce3"/>
    <xsd:element name="properties">
      <xsd:complexType>
        <xsd:sequence>
          <xsd:element name="documentManagement">
            <xsd:complexType>
              <xsd:all>
                <xsd:element ref="ns2:CUFunction_Note" minOccurs="0"/>
                <xsd:element ref="ns2:CUBusinessUnit_Note" minOccurs="0"/>
                <xsd:element ref="ns2:CULocation_Note" minOccurs="0"/>
                <xsd:element ref="ns2:CUClassification_Note" minOccurs="0"/>
                <xsd:element ref="ns2:CUDocumentType_Note" minOccurs="0"/>
                <xsd:element ref="ns2:TaxCatchAll" minOccurs="0"/>
                <xsd:element ref="ns2:TaxCatchAllLabel" minOccurs="0"/>
                <xsd:element ref="ns2:CUOriginURL" minOccurs="0"/>
                <xsd:element ref="ns2:TaxKeywordTaxHTField" minOccurs="0"/>
                <xsd:element ref="ns2:CUContentCategories_Note" minOccurs="0"/>
                <xsd:element ref="ns2:COMM_Date" minOccurs="0"/>
                <xsd:element ref="ns2:COMM_ProjectName" minOccurs="0"/>
                <xsd:element ref="ns2:COMM_ProductionLocation" minOccurs="0"/>
                <xsd:element ref="ns2:COMM_JobNumber" minOccurs="0"/>
                <xsd:element ref="ns2:COMM_KeyPeople" minOccurs="0"/>
                <xsd:element ref="ns1:_dlc_Exempt" minOccurs="0"/>
                <xsd:element ref="ns1:_dlc_ExpireDateSaved" minOccurs="0"/>
                <xsd:element ref="ns1:_dlc_Expire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30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31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32" nillable="true" ma:displayName="Expiration Date" ma:description="" ma:hidden="true" ma:indexed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88e6c4-fcff-4e56-b8a1-dbf7c2669ce3" elementFormDefault="qualified">
    <xsd:import namespace="http://schemas.microsoft.com/office/2006/documentManagement/types"/>
    <xsd:import namespace="http://schemas.microsoft.com/office/infopath/2007/PartnerControls"/>
    <xsd:element name="CUFunction_Note" ma:index="8" ma:taxonomy="true" ma:internalName="CUFunction_Note" ma:taxonomyFieldName="CUFunction" ma:displayName="Function" ma:readOnly="false" ma:default="6;#Communications|772a6922-610b-4c0a-9a1a-5f195efe1b0d" ma:fieldId="{f7a85b18-2f9f-4cfd-b308-fbb993b9f471}" ma:taxonomyMulti="true" ma:sspId="b53ed34d-b75e-4dcd-af8b-2871378cbb82" ma:termSetId="5ba84462-6d67-428d-836e-5ec8a724699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UBusinessUnit_Note" ma:index="9" ma:taxonomy="true" ma:internalName="CUBusinessUnit_Note" ma:taxonomyFieldName="CUBusinessUnit" ma:displayName="Business Unit" ma:readOnly="false" ma:default="5;#Corporate|78f116de-89c6-461f-ac9e-46c1249c8e20" ma:fieldId="{7b161e6e-8eef-4cf6-a529-1f8ffc779057}" ma:taxonomyMulti="true" ma:sspId="b53ed34d-b75e-4dcd-af8b-2871378cbb82" ma:termSetId="96afdea6-b67c-4b61-856b-7c606596fda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ULocation_Note" ma:index="10" ma:taxonomy="true" ma:internalName="CULocation_Note" ma:taxonomyFieldName="CULocation" ma:displayName="Location (ABO)" ma:readOnly="false" ma:default="3;#Not Applicable|d2b5d116-a9da-4dd0-afe0-12dc4c968e18" ma:fieldId="{d34b0c18-4ed6-4564-bfa9-6480d94c2f6b}" ma:taxonomyMulti="true" ma:sspId="b53ed34d-b75e-4dcd-af8b-2871378cbb82" ma:termSetId="8fb80a0e-2213-484e-88c5-19a2e9a8a6d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UClassification_Note" ma:index="11" ma:taxonomy="true" ma:internalName="CUClassification_Note" ma:taxonomyFieldName="CUClassification" ma:displayName="Classification" ma:readOnly="false" ma:default="4;#Internal use only|c22c3a8f-c8ce-43fa-ae03-fa8f3cf5b121" ma:fieldId="{80b08fe8-8e5d-42b4-90d9-fa334f1b1188}" ma:sspId="b53ed34d-b75e-4dcd-af8b-2871378cbb82" ma:termSetId="6b83751b-89d8-4704-a411-3b7f81e3a11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UDocumentType_Note" ma:index="12" nillable="true" ma:taxonomy="true" ma:internalName="CUDocumentType_Note" ma:taxonomyFieldName="CUDocumentType" ma:displayName="Record Type" ma:readOnly="false" ma:default="" ma:fieldId="{551d9a1f-9e7c-403c-a28e-17d1a80ed768}" ma:sspId="b53ed34d-b75e-4dcd-af8b-2871378cbb82" ma:termSetId="3319855a-a36c-4ae7-b27f-6c6539014cf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462aee7d-1737-42c4-b1c2-3e11a94c817d}" ma:internalName="TaxCatchAll" ma:showField="CatchAllData" ma:web="60e70e43-f1fa-4c92-84eb-d76a987a02d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4" nillable="true" ma:displayName="Taxonomy Catch All Column1" ma:hidden="true" ma:list="{462aee7d-1737-42c4-b1c2-3e11a94c817d}" ma:internalName="TaxCatchAllLabel" ma:readOnly="true" ma:showField="CatchAllDataLabel" ma:web="60e70e43-f1fa-4c92-84eb-d76a987a02d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UOriginURL" ma:index="20" nillable="true" ma:displayName="Origin URL" ma:hidden="true" ma:internalName="CUOriginURL" ma:readOnly="false">
      <xsd:simpleType>
        <xsd:restriction base="dms:Text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b53ed34d-b75e-4dcd-af8b-2871378cbb8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CUContentCategories_Note" ma:index="23" nillable="true" ma:taxonomy="true" ma:internalName="CUContentCategories_Note" ma:taxonomyFieldName="CUContentCategories" ma:displayName="Content Categories" ma:readOnly="false" ma:default="" ma:fieldId="{7f7b7a49-5904-4574-b4a9-0f3ecac252d8}" ma:taxonomyMulti="true" ma:sspId="b53ed34d-b75e-4dcd-af8b-2871378cbb82" ma:termSetId="c194efa3-1482-4381-8f17-5198a8bfa37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OMM_Date" ma:index="25" nillable="true" ma:displayName="Date" ma:format="DateOnly" ma:internalName="COMM_Date">
      <xsd:simpleType>
        <xsd:restriction base="dms:DateTime"/>
      </xsd:simpleType>
    </xsd:element>
    <xsd:element name="COMM_ProjectName" ma:index="26" nillable="true" ma:displayName="Project Name" ma:description="Project name in Corporate Communications" ma:internalName="COMM_ProjectName">
      <xsd:simpleType>
        <xsd:restriction base="dms:Text"/>
      </xsd:simpleType>
    </xsd:element>
    <xsd:element name="COMM_ProductionLocation" ma:index="27" nillable="true" ma:displayName="Site" ma:description="Production location in Corporate Communications" ma:internalName="COMM_ProductionLocation" ma:readOnly="false">
      <xsd:simpleType>
        <xsd:restriction base="dms:Text">
          <xsd:maxLength value="255"/>
        </xsd:restriction>
      </xsd:simpleType>
    </xsd:element>
    <xsd:element name="COMM_JobNumber" ma:index="28" nillable="true" ma:displayName="Job Number" ma:description="Job number in Corporate Communications" ma:internalName="COMM_JobNumber">
      <xsd:simpleType>
        <xsd:restriction base="dms:Text"/>
      </xsd:simpleType>
    </xsd:element>
    <xsd:element name="COMM_KeyPeople" ma:index="29" nillable="true" ma:displayName="Key People" ma:SharePointGroup="0" ma:internalName="COMM_KeyPeople" ma:readOnly="fals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6.0.0.0, Culture=neutral, PublicKeyToken=71e9bce111e9429c</Assembly>
    <Class>Microsoft.Office.RecordsManagement.Internal.UpdateExpireDate</Class>
    <Data/>
    <Filter/>
  </Receiver>
</spe:Receivers>
</file>

<file path=customXml/item5.xml><?xml version="1.0" encoding="utf-8"?>
<?mso-contentType ?>
<SharedContentType xmlns="Microsoft.SharePoint.Taxonomy.ContentTypeSync" SourceId="b53ed34d-b75e-4dcd-af8b-2871378cbb82" ContentTypeId="0x010100D6DB4AC788A74237AC66E75E8A04265F2A" PreviousValue="false" LastSyncTimeStamp="2020-03-23T11:35:48.947Z"/>
</file>

<file path=customXml/item6.xml><?xml version="1.0" encoding="utf-8"?>
<?mso-contentType ?>
<p:Policy xmlns:p="office.server.policy" id="" local="true">
  <p:Name>Corporate Communications Document 10 Years</p:Name>
  <p:Description/>
  <p:Statement/>
  <p:PolicyItems>
    <p:PolicyItem featureId="Microsoft.Office.RecordsManagement.PolicyFeatures.Expiration" staticId="0x010100D6DB4AC788A74237AC66E75E8A04265F2A|-1366636739" UniqueId="9abd5c87-7024-4653-8dcc-0c44a27561be">
      <p:Name>Retention</p:Name>
      <p:Description>Automatic scheduling of content for processing, and performing a retention action on content that has reached its due date.</p:Description>
      <p:CustomData>
        <Schedules nextStageId="2">
          <Schedule type="Default">
            <stages>
              <data stageId="1">
                <formula id="Microsoft.Office.RecordsManagement.PolicyFeatures.Expiration.Formula.BuiltIn">
                  <number>10</number>
                  <property>Modified</property>
                  <propertyId>28cf69c5-fa48-462a-b5cd-27b6f9d2bd5f</propertyId>
                  <period>years</period>
                </formula>
                <action type="action" id="Microsoft.Office.RecordsManagement.PolicyFeatures.Expiration.Action.MoveToRecycleBin"/>
              </data>
            </stages>
          </Schedule>
        </Schedules>
      </p:CustomData>
    </p:PolicyItem>
  </p:PolicyItems>
</p:Policy>
</file>

<file path=customXml/itemProps1.xml><?xml version="1.0" encoding="utf-8"?>
<ds:datastoreItem xmlns:ds="http://schemas.openxmlformats.org/officeDocument/2006/customXml" ds:itemID="{468E664F-D5A3-4EE4-BA96-CEF75428912C}">
  <ds:schemaRefs>
    <ds:schemaRef ds:uri="http://schemas.microsoft.com/office/2006/metadata/properties"/>
    <ds:schemaRef ds:uri="http://schemas.microsoft.com/office/infopath/2007/PartnerControls"/>
    <ds:schemaRef ds:uri="4d88e6c4-fcff-4e56-b8a1-dbf7c2669ce3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22F639C3-56A5-4896-96F2-6BD90BCB60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d88e6c4-fcff-4e56-b8a1-dbf7c2669c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1D00973-57DD-4810-B921-BCFDDB7D334D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E314744A-7782-44C3-89CC-F32EBABEBB7A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449A69AC-6CD7-4338-B304-36F583E306B5}">
  <ds:schemaRefs>
    <ds:schemaRef ds:uri="Microsoft.SharePoint.Taxonomy.ContentTypeSync"/>
  </ds:schemaRefs>
</ds:datastoreItem>
</file>

<file path=customXml/itemProps6.xml><?xml version="1.0" encoding="utf-8"?>
<ds:datastoreItem xmlns:ds="http://schemas.openxmlformats.org/officeDocument/2006/customXml" ds:itemID="{8CB5C415-8180-42CA-9F9B-5AFFE14A46EE}">
  <ds:schemaRefs>
    <ds:schemaRef ds:uri="office.server.policy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lide library_2023</Template>
  <TotalTime>17</TotalTime>
  <Words>91</Words>
  <Application>Microsoft Office PowerPoint</Application>
  <PresentationFormat>Widescreen</PresentationFormat>
  <Paragraphs>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Arial Black</vt:lpstr>
      <vt:lpstr>Calibri</vt:lpstr>
      <vt:lpstr>Courier New</vt:lpstr>
      <vt:lpstr>LucidaGrande</vt:lpstr>
      <vt:lpstr>Times New Roman</vt:lpstr>
      <vt:lpstr>Wingdings</vt:lpstr>
      <vt:lpstr>Cummins 2018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porate slide library</dc:title>
  <dc:creator>Chelsey J Klosterman</dc:creator>
  <cp:lastModifiedBy>Chelsey J Klosterman</cp:lastModifiedBy>
  <cp:revision>3</cp:revision>
  <dcterms:created xsi:type="dcterms:W3CDTF">2023-11-10T15:05:08Z</dcterms:created>
  <dcterms:modified xsi:type="dcterms:W3CDTF">2025-08-14T18:31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6DB4AC788A74237AC66E75E8A04265F2A0073037F277E724F4FBF6073B7F8F5E20B</vt:lpwstr>
  </property>
  <property fmtid="{D5CDD505-2E9C-101B-9397-08002B2CF9AE}" pid="3" name="CULocation">
    <vt:lpwstr>3;#Not Applicable|d2b5d116-a9da-4dd0-afe0-12dc4c968e18</vt:lpwstr>
  </property>
  <property fmtid="{D5CDD505-2E9C-101B-9397-08002B2CF9AE}" pid="4" name="_dlc_policyId">
    <vt:lpwstr>0x010100D6DB4AC788A74237AC66E75E8A04265F2A|-1366636739</vt:lpwstr>
  </property>
  <property fmtid="{D5CDD505-2E9C-101B-9397-08002B2CF9AE}" pid="5" name="CUFunction">
    <vt:lpwstr>6;#Communications|772a6922-610b-4c0a-9a1a-5f195efe1b0d</vt:lpwstr>
  </property>
  <property fmtid="{D5CDD505-2E9C-101B-9397-08002B2CF9AE}" pid="6" name="CUBusinessUnit">
    <vt:lpwstr>5;#Corporate|78f116de-89c6-461f-ac9e-46c1249c8e20</vt:lpwstr>
  </property>
  <property fmtid="{D5CDD505-2E9C-101B-9397-08002B2CF9AE}" pid="7" name="ItemRetentionFormula">
    <vt:lpwstr>&lt;formula id="Microsoft.Office.RecordsManagement.PolicyFeatures.Expiration.Formula.BuiltIn"&gt;&lt;number&gt;10&lt;/number&gt;&lt;property&gt;Modified&lt;/property&gt;&lt;propertyId&gt;28cf69c5-fa48-462a-b5cd-27b6f9d2bd5f&lt;/propertyId&gt;&lt;period&gt;years&lt;/period&gt;&lt;/formula&gt;</vt:lpwstr>
  </property>
  <property fmtid="{D5CDD505-2E9C-101B-9397-08002B2CF9AE}" pid="8" name="CUTechnicalProcessArea">
    <vt:lpwstr/>
  </property>
  <property fmtid="{D5CDD505-2E9C-101B-9397-08002B2CF9AE}" pid="9" name="CUKeyProcess_Note">
    <vt:lpwstr/>
  </property>
  <property fmtid="{D5CDD505-2E9C-101B-9397-08002B2CF9AE}" pid="10" name="lcf76f155ced4ddcb4097134ff3c332f">
    <vt:lpwstr/>
  </property>
  <property fmtid="{D5CDD505-2E9C-101B-9397-08002B2CF9AE}" pid="11" name="TaxKeyword">
    <vt:lpwstr/>
  </property>
  <property fmtid="{D5CDD505-2E9C-101B-9397-08002B2CF9AE}" pid="12" name="MediaServiceImageTags">
    <vt:lpwstr/>
  </property>
  <property fmtid="{D5CDD505-2E9C-101B-9397-08002B2CF9AE}" pid="13" name="CUClassification">
    <vt:lpwstr>4;#Internal use only|c22c3a8f-c8ce-43fa-ae03-fa8f3cf5b121</vt:lpwstr>
  </property>
  <property fmtid="{D5CDD505-2E9C-101B-9397-08002B2CF9AE}" pid="14" name="l535e9333ad0483c86509319bf62e6f2">
    <vt:lpwstr/>
  </property>
  <property fmtid="{D5CDD505-2E9C-101B-9397-08002B2CF9AE}" pid="15" name="CUContentCategories">
    <vt:lpwstr/>
  </property>
  <property fmtid="{D5CDD505-2E9C-101B-9397-08002B2CF9AE}" pid="16" name="Commodity Code">
    <vt:lpwstr/>
  </property>
  <property fmtid="{D5CDD505-2E9C-101B-9397-08002B2CF9AE}" pid="17" name="Commodity_x0020_Code">
    <vt:lpwstr/>
  </property>
  <property fmtid="{D5CDD505-2E9C-101B-9397-08002B2CF9AE}" pid="18" name="CUDocumentType">
    <vt:lpwstr/>
  </property>
  <property fmtid="{D5CDD505-2E9C-101B-9397-08002B2CF9AE}" pid="19" name="SharedWithUsers">
    <vt:lpwstr>447;#Rhonda McKee-Hessel;#1325;#Jesus M Martinez;#31053;#Vikrant Suryawanshi</vt:lpwstr>
  </property>
</Properties>
</file>